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44992925" cy="6858000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25" d="100"/>
          <a:sy n="25" d="100"/>
        </p:scale>
        <p:origin x="103" y="195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6009B7E-A1ED-126B-10A4-0AF9E388662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2D1679-CFE5-A6D0-0340-14D121C58E4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597583-1F4C-4A7E-BB47-D8E4358FC723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2BCA15-F229-4CDB-491E-D561CE97F01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7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98A115-A0B4-8098-A16E-42152EB16C3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8A6E69-C36B-45E4-98CD-B5D57FB4FAB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31861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2BBF2A-823E-4874-881E-0580C5581854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6692900" y="1143000"/>
            <a:ext cx="20243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70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93B37-8DA2-4807-B6FD-B2A4BE64DD2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0158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B93B37-8DA2-4807-B6FD-B2A4BE64DD2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0031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550" y="75600"/>
            <a:ext cx="43642052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4548" y="6605844"/>
            <a:ext cx="13728156" cy="126000"/>
          </a:xfrm>
        </p:spPr>
        <p:txBody>
          <a:bodyPr/>
          <a:lstStyle/>
          <a:p>
            <a:fld id="{9F3EDF2D-E5A1-4F08-838B-7443CE96CD24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9691772" y="6605844"/>
            <a:ext cx="12755313" cy="126000"/>
          </a:xfrm>
        </p:spPr>
        <p:txBody>
          <a:bodyPr/>
          <a:lstStyle/>
          <a:p>
            <a:r>
              <a:rPr lang="de-DE"/>
              <a:t>PowerPoint-1067×70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3087130" y="6590168"/>
            <a:ext cx="1289470" cy="151200"/>
          </a:xfrm>
        </p:spPr>
        <p:txBody>
          <a:bodyPr/>
          <a:lstStyle/>
          <a:p>
            <a:fld id="{709734CF-625A-4EF3-B920-57D60C1DDB2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34548" y="914400"/>
            <a:ext cx="36738318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8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8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8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8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8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3873821209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367E7-EE59-E18B-2C91-BC60FE363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49F7A6A-5E95-228B-A5DF-667B8ED8D6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EDF2D-E5A1-4F08-838B-7443CE96CD24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851DC0-B259-3AE0-2BFD-E6E079493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7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35CF32-9A42-2A3C-B1D9-F3FE7AB27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734CF-625A-4EF3-B920-57D60C1DDB2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4677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734548" y="6605844"/>
            <a:ext cx="13728156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9F3EDF2D-E5A1-4F08-838B-7443CE96CD24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29691772" y="6605844"/>
            <a:ext cx="12755313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70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734550" y="75600"/>
            <a:ext cx="43642052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734548" y="914400"/>
            <a:ext cx="3673831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43087130" y="6590168"/>
            <a:ext cx="1289470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709734CF-625A-4EF3-B920-57D60C1DDB2F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303675" y="6165304"/>
            <a:ext cx="22191082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9750" marR="0" lvl="0" indent="-539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6088" algn="r"/>
                <a:tab pos="539750" algn="l"/>
              </a:tabLst>
              <a:defRPr/>
            </a:pPr>
            <a:r>
              <a:rPr lang="de-DE" sz="800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2505643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9EE9D7-8E0A-B11C-FD33-0DF93FE13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5686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866F356B-8A12-4C5A-816D-E62F5C0FE7FD}" vid="{A5505CFF-3F7C-4777-BD21-919D7ABFA2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ipchart-Service.de</dc:creator>
  <cp:lastModifiedBy>Stefan Berger</cp:lastModifiedBy>
  <cp:revision>2</cp:revision>
  <dcterms:created xsi:type="dcterms:W3CDTF">2025-08-15T17:08:25Z</dcterms:created>
  <dcterms:modified xsi:type="dcterms:W3CDTF">2025-09-01T07:45:43Z</dcterms:modified>
</cp:coreProperties>
</file>